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6" r:id="rId1"/>
  </p:sldMasterIdLst>
  <p:notesMasterIdLst>
    <p:notesMasterId r:id="rId15"/>
  </p:notesMasterIdLst>
  <p:sldIdLst>
    <p:sldId id="269" r:id="rId2"/>
    <p:sldId id="297" r:id="rId3"/>
    <p:sldId id="266" r:id="rId4"/>
    <p:sldId id="412" r:id="rId5"/>
    <p:sldId id="414" r:id="rId6"/>
    <p:sldId id="415" r:id="rId7"/>
    <p:sldId id="416" r:id="rId8"/>
    <p:sldId id="424" r:id="rId9"/>
    <p:sldId id="427" r:id="rId10"/>
    <p:sldId id="425" r:id="rId11"/>
    <p:sldId id="428" r:id="rId12"/>
    <p:sldId id="423" r:id="rId13"/>
    <p:sldId id="426" r:id="rId14"/>
  </p:sldIdLst>
  <p:sldSz cx="9144000" cy="6858000" type="screen4x3"/>
  <p:notesSz cx="7104063" cy="10234613"/>
  <p:custDataLst>
    <p:tags r:id="rId1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85ED"/>
    <a:srgbClr val="6CA8F2"/>
    <a:srgbClr val="009650"/>
    <a:srgbClr val="E3EBEE"/>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249" autoAdjust="0"/>
    <p:restoredTop sz="95833" autoAdjust="0"/>
  </p:normalViewPr>
  <p:slideViewPr>
    <p:cSldViewPr snapToObjects="1">
      <p:cViewPr varScale="1">
        <p:scale>
          <a:sx n="84" d="100"/>
          <a:sy n="84" d="100"/>
        </p:scale>
        <p:origin x="451" y="67"/>
      </p:cViewPr>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25" d="100"/>
        <a:sy n="125" d="100"/>
      </p:scale>
      <p:origin x="0" y="0"/>
    </p:cViewPr>
  </p:sorterViewPr>
  <p:notesViewPr>
    <p:cSldViewPr snapToObjects="1">
      <p:cViewPr varScale="1">
        <p:scale>
          <a:sx n="57" d="100"/>
          <a:sy n="57" d="100"/>
        </p:scale>
        <p:origin x="3293" y="3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6/3/17</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4029879"/>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6"/>
            <a:ext cx="5683250" cy="5495313"/>
          </a:xfrm>
        </p:spPr>
        <p:txBody>
          <a:bodyPr/>
          <a:lstStyle/>
          <a:p>
            <a:pPr indent="93349"/>
            <a:r>
              <a:rPr lang="ja-JP" altLang="en-US" dirty="0">
                <a:latin typeface="Meiryo UI" panose="020B0604030504040204" pitchFamily="50" charset="-128"/>
                <a:ea typeface="Meiryo UI" panose="020B0604030504040204" pitchFamily="50" charset="-128"/>
              </a:rPr>
              <a:t>みなさん、こんにちは。</a:t>
            </a:r>
            <a:endParaRPr lang="en-US" altLang="ja-JP" dirty="0">
              <a:latin typeface="Meiryo UI" panose="020B0604030504040204" pitchFamily="50" charset="-128"/>
              <a:ea typeface="Meiryo UI" panose="020B0604030504040204" pitchFamily="50" charset="-128"/>
            </a:endParaRPr>
          </a:p>
          <a:p>
            <a:pPr indent="93349"/>
            <a:endParaRPr lang="ja-JP" altLang="en-US"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この講座はスマートフォンを買われて、まだあまり操作方法をよくご存じではない方を対象として、電話のかけ方のご説明をしますのでよろしくお願いいたします。</a:t>
            </a:r>
          </a:p>
          <a:p>
            <a:pPr indent="93349"/>
            <a:endParaRPr lang="ja-JP" altLang="en-US"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まず講座を始める前に皆様がお持ちのスマートフォン本体の裏側をご確認ください。</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リンゴのマークがスマートフォンについていますか？</a:t>
            </a:r>
            <a:endParaRPr lang="en-US" altLang="ja-JP" dirty="0">
              <a:latin typeface="Meiryo UI" panose="020B0604030504040204" pitchFamily="50" charset="-128"/>
              <a:ea typeface="Meiryo UI" panose="020B0604030504040204" pitchFamily="50" charset="-128"/>
            </a:endParaRPr>
          </a:p>
          <a:p>
            <a:pPr indent="93349"/>
            <a:endParaRPr lang="ja-JP" altLang="en-US"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もしついていない場合、そのスマートフォンは</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という別の操作方法のスマートフォンになりますので、残念ながら本講座の対象外になってしまいます。</a:t>
            </a:r>
          </a:p>
          <a:p>
            <a:pPr indent="93349"/>
            <a:endParaRPr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このまま聞いていただいてもあまりお役にはたてないかと思います。ご了承下さい。</a:t>
            </a:r>
          </a:p>
          <a:p>
            <a:pPr indent="93349"/>
            <a:endParaRPr lang="ja-JP" altLang="en-US" dirty="0">
              <a:latin typeface="Meiryo UI" panose="020B0604030504040204" pitchFamily="50" charset="-128"/>
              <a:ea typeface="Meiryo UI" panose="020B0604030504040204" pitchFamily="50" charset="-128"/>
            </a:endParaRPr>
          </a:p>
          <a:p>
            <a:pPr indent="93349"/>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3349"/>
            <a:r>
              <a:rPr lang="ja-JP" altLang="en-US" dirty="0">
                <a:latin typeface="Meiryo UI" panose="020B0604030504040204" pitchFamily="50" charset="-128"/>
                <a:ea typeface="Meiryo UI" panose="020B0604030504040204" pitchFamily="50" charset="-128"/>
              </a:rPr>
              <a:t>講座開始時は参加者も固くなってしまいがちですので、しっかりと冒頭の挨拶にて明るく柔らかい雰囲気を作り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次に、不在着信の相手にかけ直す方法をご説明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ホーム画面から①の受話器マークを押し、電話機能を起動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の画面で下部に表示されたメニューの中から</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履歴</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選択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7007272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5679A9-98D4-D8A1-5FA2-554AE5B36A8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A64BE91-ABAB-B7A2-12B5-70AEE584315F}"/>
              </a:ext>
            </a:extLst>
          </p:cNvPr>
          <p:cNvSpPr>
            <a:spLocks noGrp="1" noRot="1" noChangeAspect="1"/>
          </p:cNvSpPr>
          <p:nvPr>
            <p:ph type="sldImg"/>
          </p:nvPr>
        </p:nvSpPr>
        <p:spPr>
          <a:xfrm>
            <a:off x="755650" y="538163"/>
            <a:ext cx="5592763" cy="4194175"/>
          </a:xfrm>
        </p:spPr>
      </p:sp>
      <p:sp>
        <p:nvSpPr>
          <p:cNvPr id="3" name="ノート プレースホルダー 2">
            <a:extLst>
              <a:ext uri="{FF2B5EF4-FFF2-40B4-BE49-F238E27FC236}">
                <a16:creationId xmlns:a16="http://schemas.microsoft.com/office/drawing/2014/main" id="{D0525533-CB50-596C-C83E-E4676B4C33F1}"/>
              </a:ext>
            </a:extLst>
          </p:cNvPr>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③の「履歴」と表示された画面に切り替わ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最上部に「すべて」と「不在着信」が並んで表示されますので、この中から</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不在着信</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押して下さい。</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表示が切り替わり、不在着信のみの履歴が表示され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中から、電話に応答できなかった相手を確認し、かけ直したい相手の番号や名前を押すと、電話をかけなおすことができます。</a:t>
            </a:r>
          </a:p>
        </p:txBody>
      </p:sp>
      <p:sp>
        <p:nvSpPr>
          <p:cNvPr id="4" name="スライド番号プレースホルダー 3">
            <a:extLst>
              <a:ext uri="{FF2B5EF4-FFF2-40B4-BE49-F238E27FC236}">
                <a16:creationId xmlns:a16="http://schemas.microsoft.com/office/drawing/2014/main" id="{AC88E1CB-E0CB-6D7C-A8E3-D10D1D9B57AB}"/>
              </a:ext>
            </a:extLst>
          </p:cNvPr>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36158804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4972441"/>
          </a:xfrm>
        </p:spPr>
        <p:txBody>
          <a:bodyPr/>
          <a:lstStyle/>
          <a:p>
            <a:pPr indent="96146"/>
            <a:r>
              <a:rPr lang="ja-JP" altLang="en-US" dirty="0">
                <a:latin typeface="Meiryo UI" panose="020B0604030504040204" pitchFamily="50" charset="-128"/>
                <a:ea typeface="Meiryo UI" panose="020B0604030504040204" pitchFamily="50" charset="-128"/>
              </a:rPr>
              <a:t>次は「連絡先」の登録の仕方をご説明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最初に、電話機能を起動した状態で「連絡先」を押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が②の連絡先の一覧に切り替わると、右上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プラス</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が表示され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ちらを押すと次の連絡先登録画面が表示され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新規連絡先</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いう画面が表示されますので、各項目に名前や電話番号などの必要事項を入力し終えたら、右上の</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完了</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ボタンを押すと登録が完了し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連絡先を登録する際に、全ての情報を入力しなくても登録することは可能です。」とご説明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18800285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047137"/>
          </a:xfrm>
        </p:spPr>
        <p:txBody>
          <a:bodyPr/>
          <a:lstStyle/>
          <a:p>
            <a:pPr indent="96146"/>
            <a:r>
              <a:rPr lang="ja-JP" altLang="en-US" dirty="0">
                <a:latin typeface="Meiryo UI" panose="020B0604030504040204" pitchFamily="50" charset="-128"/>
                <a:ea typeface="Meiryo UI" panose="020B0604030504040204" pitchFamily="50" charset="-128"/>
              </a:rPr>
              <a:t>今までにかかってきた電話の履歴を使って、登録する方法です。これが一番手軽な登録方法で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はこれまで通り、ホーム画面から「電話」マークを押し電話機能を起動させ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下部に表示されるメニューの中から「履歴」を押し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のような履歴の一覧画面が表示されたら、登録したい番号の右横にあるⓘのマークを押して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すると③の画面が表示され、その中に「新規連絡先を作成」という項目が表示されますので、こちらを選択すると、</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前の項目でご説明した画面と同じ登録画面が表示され、必要項目を追加入力すれば同じように電話帳へ登録することが出来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のかけ方についての説明は以上で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講師向けコメント</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②の手順で</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新規連絡先の作成</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表示が出なければその電話番号の方は既に登録済みです。」とご説明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よくあるケースなのでご認識をお願い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1417686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この講座では、電話のかけ方について学び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お持ちの機種によってソフトのアプリ、ハードウェア機器の性能等の機種の中身が異なっている場合もあり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お持ちの機種によって内蔵しているアプリ、機種本体の性能や機能が異なるため、</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説明する内容とお持ちの機種とで画面の表示や動作が若干異なることもあるかと思いますが、ご容赦ください。</a:t>
            </a: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r>
              <a:rPr lang="ja-JP" altLang="en-US" dirty="0">
                <a:latin typeface="Meiryo UI" panose="020B0604030504040204" pitchFamily="50" charset="-128"/>
                <a:ea typeface="Meiryo UI" panose="020B0604030504040204" pitchFamily="50" charset="-128"/>
              </a:rPr>
              <a:t>講師の皆様は、大まかな講座内容を冒頭に提示し、目的を明確化させましょう。</a:t>
            </a:r>
            <a:endParaRPr lang="en-US" altLang="ja-JP" dirty="0">
              <a:latin typeface="Meiryo UI" panose="020B0604030504040204" pitchFamily="50" charset="-128"/>
              <a:ea typeface="Meiryo UI" panose="020B0604030504040204" pitchFamily="50" charset="-128"/>
            </a:endParaRPr>
          </a:p>
          <a:p>
            <a:endParaRPr kumimoji="1"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70713"/>
          </a:xfrm>
        </p:spPr>
        <p:txBody>
          <a:bodyPr/>
          <a:lstStyle/>
          <a:p>
            <a:pPr indent="96146"/>
            <a:r>
              <a:rPr lang="ja-JP" altLang="en-US" dirty="0">
                <a:latin typeface="Meiryo UI" panose="020B0604030504040204" pitchFamily="50" charset="-128"/>
                <a:ea typeface="Meiryo UI" panose="020B0604030504040204" pitchFamily="50" charset="-128"/>
              </a:rPr>
              <a:t>それではまず最初に、スマートフォンを起動し、①のようなホーム画面から受話器マークを見つけて押してください。</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のような画面になりましたら、画面下部の右から</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番目にある点がまとまったような図柄で表示されている「キーパッド」のマークを押して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のように数字盤が表示された画面に切り替わったら、発信したい相手先の電話番号を入力して下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入力が終わりましたら、緑色の受話器マークを押すと電話が発信でき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スマートフォンであっても、他の携帯電話と同じように市外局番から入力する必要があります。」と、念のためご説明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アイコン」といったカタカナ言葉を聞いて意欲が薄まってしまうことがよくありますので、</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座中は日本語に置き換えて話したり、実演も踏まえながら丁寧にご説明ください。</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96146"/>
            <a:r>
              <a:rPr lang="ja-JP" altLang="en-US" dirty="0">
                <a:latin typeface="Meiryo UI" panose="020B0604030504040204" pitchFamily="50" charset="-128"/>
                <a:ea typeface="Meiryo UI" panose="020B0604030504040204" pitchFamily="50" charset="-128"/>
              </a:rPr>
              <a:t>電話が発信されると、④のように「発信中」と画面に表示され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操作で電話がかからない場合は、電波が届いていない可能性がありますので、</a:t>
            </a:r>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念のため画面の左上のアンテナ部分が圏外表示になっていないか確認し、問題なければ番号を押し間違えていないか今一度ご確認ください。</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がつながると、⑤のように画面表示が「発信中」から「通話時間」に切り替わり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この際、スピーカーマークを押すことで、スマートフォンを置いた状態でのハンズフリー通話も可能で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ハンズフリー通話は手が離せない作業をしながら会話する場合などに便利な機能で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状況に応じてお試しください。</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を切る時は⑥の下段中央にある赤色の受話器マークを押して通話を終了してください。</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通話の際は、電話の切り忘れにご注意ください。意図せず通話料金がかかってしまう可能性があり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を切る時、赤い受話器マークを押さずに「ホームボタン」を押すと、通話画面が見えなくなり、通話が終了したかのように見えますが、実際には通話状態は継続してい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相手も同じような状態で電話がつながったままになってしまった場合、後から高額な通話料金を請求されることもあり得ますので、必ず通話後は赤い受話器マークを押して電話を切りましょう。</a:t>
            </a: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r>
              <a:rPr lang="ja-JP" altLang="en-US" dirty="0">
                <a:latin typeface="Meiryo UI" panose="020B0604030504040204" pitchFamily="50" charset="-128"/>
                <a:ea typeface="Meiryo UI" panose="020B0604030504040204" pitchFamily="50" charset="-128"/>
              </a:rPr>
              <a:t>講師の皆様は、必要に応じて、「スピーカーモードを利用すると、音声がスピーカーから発せられますので、スマートフォンを耳にあてなくても通話ができます」とご説明ください。</a:t>
            </a:r>
          </a:p>
          <a:p>
            <a:pPr indent="9614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83364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96146"/>
            <a:r>
              <a:rPr lang="ja-JP" altLang="en-US" dirty="0">
                <a:latin typeface="Meiryo UI" panose="020B0604030504040204" pitchFamily="50" charset="-128"/>
                <a:ea typeface="Meiryo UI" panose="020B0604030504040204" pitchFamily="50" charset="-128"/>
              </a:rPr>
              <a:t>次はいままで来た電話の着信履歴を使って電話をかける方法をご説明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先ほどと同じように、緑色の受話器マークを押して電話機能を起動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の画面で下部に記載されたメニューの中から「履歴」を押し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がこれまでの通話履歴のリスト表示に切り替わり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リストで表示されている中からかけたい相手の名前を押すと電話がかかり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後の操作は前の項目でご説明した手順と同じとなり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着信履歴を使った方法は便利ですが、慣れていない方は目的の箇所とは違う場所を</a:t>
            </a:r>
            <a:r>
              <a:rPr lang="ja-JP" altLang="en-US" dirty="0"/>
              <a:t>押し</a:t>
            </a:r>
            <a:r>
              <a:rPr lang="ja-JP" altLang="en-US" dirty="0">
                <a:latin typeface="Meiryo UI" panose="020B0604030504040204" pitchFamily="50" charset="-128"/>
                <a:ea typeface="Meiryo UI" panose="020B0604030504040204" pitchFamily="50" charset="-128"/>
              </a:rPr>
              <a:t>て、間違えて他の人にかけてしまう可能性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気をつけてボタンを</a:t>
            </a:r>
            <a:r>
              <a:rPr lang="ja-JP" altLang="en-US" dirty="0"/>
              <a:t>押し</a:t>
            </a:r>
            <a:r>
              <a:rPr lang="ja-JP" altLang="en-US" dirty="0">
                <a:latin typeface="Meiryo UI" panose="020B0604030504040204" pitchFamily="50" charset="-128"/>
                <a:ea typeface="Meiryo UI" panose="020B0604030504040204" pitchFamily="50" charset="-128"/>
              </a:rPr>
              <a:t>てください。」とご説明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5031168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次は電話帳を使って電話をかける方法をご説明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最初にこれまでと同様の手順で電話機能を起動し、画面下部に表示されたメニューの中から「連絡先」を押して下さい。</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の画面で登録してある名前の一覧が表示されますので、かけたい相手の名前を押し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のような画面で登録された情報が表示されますので、この画面の中にある</a:t>
            </a:r>
          </a:p>
          <a:p>
            <a:pPr indent="96146"/>
            <a:r>
              <a:rPr lang="ja-JP" altLang="en-US" dirty="0">
                <a:latin typeface="Meiryo UI" panose="020B0604030504040204" pitchFamily="50" charset="-128"/>
                <a:ea typeface="Meiryo UI" panose="020B0604030504040204" pitchFamily="50" charset="-128"/>
              </a:rPr>
              <a:t>発信ボタンを押すと相手に電話をかける事ができ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連絡先に登録されていない相手にはこの手順ではかけられませんので、この後ご説明する電話帳への登録方法をお試しください。</a:t>
            </a:r>
          </a:p>
          <a:p>
            <a:pPr indent="9614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1692542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70713"/>
          </a:xfrm>
        </p:spPr>
        <p:txBody>
          <a:bodyPr/>
          <a:lstStyle/>
          <a:p>
            <a:pPr indent="96146"/>
            <a:r>
              <a:rPr lang="ja-JP" altLang="en-US" dirty="0">
                <a:latin typeface="Meiryo UI" panose="020B0604030504040204" pitchFamily="50" charset="-128"/>
                <a:ea typeface="Meiryo UI" panose="020B0604030504040204" pitchFamily="50" charset="-128"/>
              </a:rPr>
              <a:t>次は自分宛ての着信に出る方法についてご説明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もしスマートフォンの操作中に電話がかかってきた際には①のように画面の上部に着信相手、電話番号が表示され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際、緑色の受話器マークを押すと電話に出ることができ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スリープモード中に電話がかかってきた際には②のような画面になり着信相手、電話番号が表示されますので、受話器マークを左から右側にスライドすると電話に出ることができ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69411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74CA6B-DEED-F13C-59A0-B44C01A6290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967FA08-DE79-DBBE-521A-A876CCC8F785}"/>
              </a:ext>
            </a:extLst>
          </p:cNvPr>
          <p:cNvSpPr>
            <a:spLocks noGrp="1" noRot="1" noChangeAspect="1"/>
          </p:cNvSpPr>
          <p:nvPr>
            <p:ph type="sldImg"/>
          </p:nvPr>
        </p:nvSpPr>
        <p:spPr>
          <a:xfrm>
            <a:off x="755650" y="538163"/>
            <a:ext cx="5592763" cy="4194175"/>
          </a:xfrm>
        </p:spPr>
      </p:sp>
      <p:sp>
        <p:nvSpPr>
          <p:cNvPr id="3" name="ノート プレースホルダー 2">
            <a:extLst>
              <a:ext uri="{FF2B5EF4-FFF2-40B4-BE49-F238E27FC236}">
                <a16:creationId xmlns:a16="http://schemas.microsoft.com/office/drawing/2014/main" id="{6D36F277-7305-F440-2761-0A6274BFEE5A}"/>
              </a:ext>
            </a:extLst>
          </p:cNvPr>
          <p:cNvSpPr>
            <a:spLocks noGrp="1"/>
          </p:cNvSpPr>
          <p:nvPr>
            <p:ph type="body" idx="1"/>
          </p:nvPr>
        </p:nvSpPr>
        <p:spPr>
          <a:xfrm>
            <a:off x="710407" y="4925409"/>
            <a:ext cx="5683250" cy="4770713"/>
          </a:xfrm>
        </p:spPr>
        <p:txBody>
          <a:bodyPr/>
          <a:lstStyle/>
          <a:p>
            <a:pPr indent="96146"/>
            <a:r>
              <a:rPr lang="ja-JP" altLang="en-US" dirty="0">
                <a:latin typeface="Meiryo UI" panose="020B0604030504040204" pitchFamily="50" charset="-128"/>
                <a:ea typeface="Meiryo UI" panose="020B0604030504040204" pitchFamily="50" charset="-128"/>
              </a:rPr>
              <a:t>次は電話に出ることができない場合や電話に出たくない場合の操作方法で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に出られないタイミングで着信があった際には、</a:t>
            </a:r>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の画像の吹き出しマークの「メッセージを送付」を押すと、定型のメッセージを選択して相手側にショートメッセージを送ることができ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電話に出たくない場合には２のように電源ボタンを２回押すと電話を切ることができます。</a:t>
            </a:r>
          </a:p>
        </p:txBody>
      </p:sp>
      <p:sp>
        <p:nvSpPr>
          <p:cNvPr id="4" name="スライド番号プレースホルダー 3">
            <a:extLst>
              <a:ext uri="{FF2B5EF4-FFF2-40B4-BE49-F238E27FC236}">
                <a16:creationId xmlns:a16="http://schemas.microsoft.com/office/drawing/2014/main" id="{1F8A3F75-34F8-2A5D-CBD8-4ABF8F9A7D87}"/>
              </a:ext>
            </a:extLst>
          </p:cNvPr>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14259598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F5D389D-943B-18A5-60EE-DA536FFA3AC2}"/>
              </a:ext>
            </a:extLst>
          </p:cNvPr>
          <p:cNvSpPr>
            <a:spLocks noGrp="1"/>
          </p:cNvSpPr>
          <p:nvPr>
            <p:ph type="ctrTitle"/>
          </p:nvPr>
        </p:nvSpPr>
        <p:spPr>
          <a:xfrm>
            <a:off x="1143000" y="1122363"/>
            <a:ext cx="6858000" cy="2387600"/>
          </a:xfrm>
        </p:spPr>
        <p:txBody>
          <a:bodyPr anchor="b"/>
          <a:lstStyle>
            <a:lvl1pPr algn="ctr">
              <a:defRPr sz="45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8A7A0A7E-4C58-3525-F1F8-625C58AC4864}"/>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4390E143-CF65-8466-7D94-9F4489FB8389}"/>
              </a:ext>
            </a:extLst>
          </p:cNvPr>
          <p:cNvSpPr>
            <a:spLocks noGrp="1"/>
          </p:cNvSpPr>
          <p:nvPr>
            <p:ph type="dt" sz="half" idx="10"/>
          </p:nvPr>
        </p:nvSpPr>
        <p:spPr/>
        <p:txBody>
          <a:bodyPr/>
          <a:lstStyle/>
          <a:p>
            <a:fld id="{87B6DE05-D6E0-4595-A7A1-6FC8781054FF}"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3F68A1D6-B096-EE3C-1A9B-AE85EED43091}"/>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E6F352F-6118-F9F1-81E9-E91A40CDD5B5}"/>
              </a:ext>
            </a:extLst>
          </p:cNvPr>
          <p:cNvSpPr>
            <a:spLocks noGrp="1"/>
          </p:cNvSpPr>
          <p:nvPr>
            <p:ph type="sldNum" sz="quarter" idx="12"/>
          </p:nvPr>
        </p:nvSpPr>
        <p:spPr/>
        <p:txBody>
          <a:bodyPr/>
          <a:lstStyle/>
          <a:p>
            <a:fld id="{94A1D089-BBAC-4244-BD99-782D26A6E253}" type="slidenum">
              <a:rPr kumimoji="1" lang="ja-JP" altLang="en-US" smtClean="0"/>
              <a:t>‹#›</a:t>
            </a:fld>
            <a:endParaRPr kumimoji="1" lang="ja-JP" altLang="en-US"/>
          </a:p>
        </p:txBody>
      </p:sp>
      <p:sp>
        <p:nvSpPr>
          <p:cNvPr id="7" name="角丸四角形 6">
            <a:extLst>
              <a:ext uri="{FF2B5EF4-FFF2-40B4-BE49-F238E27FC236}">
                <a16:creationId xmlns:a16="http://schemas.microsoft.com/office/drawing/2014/main" id="{24CFE614-8CA3-D60C-A687-1550232BACE1}"/>
              </a:ext>
            </a:extLst>
          </p:cNvPr>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a:extLst>
              <a:ext uri="{FF2B5EF4-FFF2-40B4-BE49-F238E27FC236}">
                <a16:creationId xmlns:a16="http://schemas.microsoft.com/office/drawing/2014/main" id="{D17A3A9B-8211-2BBF-F133-1D55C146BF4E}"/>
              </a:ext>
            </a:extLst>
          </p:cNvPr>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直線コネクタ 8">
            <a:extLst>
              <a:ext uri="{FF2B5EF4-FFF2-40B4-BE49-F238E27FC236}">
                <a16:creationId xmlns:a16="http://schemas.microsoft.com/office/drawing/2014/main" id="{FE62CE4E-2E44-A887-53E9-E2E3B2C93DF9}"/>
              </a:ext>
            </a:extLst>
          </p:cNvPr>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B5A193F8-C5CE-2268-D9A6-EF1C837CD916}"/>
              </a:ext>
            </a:extLst>
          </p:cNvPr>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C62C6AC5-951E-9A1D-E7B6-FB0A704AF128}"/>
              </a:ext>
            </a:extLst>
          </p:cNvPr>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00527327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0" orient="horz" pos="346" userDrawn="1">
          <p15:clr>
            <a:srgbClr val="FBAE40"/>
          </p15:clr>
        </p15:guide>
        <p15:guide id="11" pos="385" userDrawn="1">
          <p15:clr>
            <a:srgbClr val="FBAE40"/>
          </p15:clr>
        </p15:guide>
        <p15:guide id="12" pos="1179" userDrawn="1">
          <p15:clr>
            <a:srgbClr val="FBAE40"/>
          </p15:clr>
        </p15:guide>
        <p15:guide id="13" orient="horz" pos="91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77B43A1-EBD6-6BA6-8ED6-1CD3325F0B19}"/>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03B18C75-28B9-8AC5-5E97-28B00E593D15}"/>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47A1E1BD-5496-9D3F-7DFD-25CE893EFDE0}"/>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F5A86137-D3FC-2C77-AD75-CD40926EA5C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BF58BF50-681E-5949-1C4D-87A931518D9E}"/>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25535464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7116BD3B-4994-303C-D36C-2EC4C8434006}"/>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B45D47B9-DBB0-1475-E22C-E479159C108C}"/>
              </a:ext>
            </a:extLst>
          </p:cNvPr>
          <p:cNvSpPr>
            <a:spLocks noGrp="1"/>
          </p:cNvSpPr>
          <p:nvPr>
            <p:ph type="body" orient="vert" idx="1"/>
          </p:nvPr>
        </p:nvSpPr>
        <p:spPr>
          <a:xfrm>
            <a:off x="628650" y="365125"/>
            <a:ext cx="58007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199948C-18FD-BFEB-A29C-E62A2470E0C6}"/>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D52ED662-4732-9C15-E606-2EC28989BD3E}"/>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03C73F5-1796-3DD6-2B9E-ADF4F5F36258}"/>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24024438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748512445"/>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8ADF8A1-3E20-3E0E-C326-5869AB35A862}"/>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F3BAF100-F979-3F72-4675-9E751AB50DA2}"/>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E3491735-B55B-A8AD-C1E5-8DE1FEAF122F}"/>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1FC67435-6DEB-DD5C-8CD0-83AF99C52B3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6FADC0E-7864-5974-FE1F-04B0BC2B03A7}"/>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550357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B94612D-2652-31CB-4B62-54488882C1CC}"/>
              </a:ext>
            </a:extLst>
          </p:cNvPr>
          <p:cNvSpPr>
            <a:spLocks noGrp="1"/>
          </p:cNvSpPr>
          <p:nvPr>
            <p:ph type="title"/>
          </p:nvPr>
        </p:nvSpPr>
        <p:spPr>
          <a:xfrm>
            <a:off x="623888" y="1709739"/>
            <a:ext cx="7886700" cy="2852737"/>
          </a:xfrm>
        </p:spPr>
        <p:txBody>
          <a:bodyPr anchor="b"/>
          <a:lstStyle>
            <a:lvl1pPr>
              <a:defRPr sz="45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5A19C21-3427-5D46-108A-52F57ED66F78}"/>
              </a:ext>
            </a:extLst>
          </p:cNvPr>
          <p:cNvSpPr>
            <a:spLocks noGrp="1"/>
          </p:cNvSpPr>
          <p:nvPr>
            <p:ph type="body" idx="1"/>
          </p:nvPr>
        </p:nvSpPr>
        <p:spPr>
          <a:xfrm>
            <a:off x="623888" y="4589464"/>
            <a:ext cx="7886700" cy="1500187"/>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F5B92F6E-EFDE-9D2A-4DEC-5CFB7FF739E2}"/>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E2221A3D-AFEA-49B1-BA5E-9A62BAD6CEA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0DFA672-AAEA-35AE-262F-9C685E80359B}"/>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36749937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1A942F4-7589-3C92-CD63-5F45E2E1C5E4}"/>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89A7713B-3FC2-395C-5F38-327E39A896C1}"/>
              </a:ext>
            </a:extLst>
          </p:cNvPr>
          <p:cNvSpPr>
            <a:spLocks noGrp="1"/>
          </p:cNvSpPr>
          <p:nvPr>
            <p:ph sz="half" idx="1"/>
          </p:nvPr>
        </p:nvSpPr>
        <p:spPr>
          <a:xfrm>
            <a:off x="628650" y="1825625"/>
            <a:ext cx="38862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5026F55E-A42F-BB8F-5663-3472B37922EE}"/>
              </a:ext>
            </a:extLst>
          </p:cNvPr>
          <p:cNvSpPr>
            <a:spLocks noGrp="1"/>
          </p:cNvSpPr>
          <p:nvPr>
            <p:ph sz="half" idx="2"/>
          </p:nvPr>
        </p:nvSpPr>
        <p:spPr>
          <a:xfrm>
            <a:off x="4629150" y="1825625"/>
            <a:ext cx="38862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5A31B5C5-F602-FB0D-1A57-A100A7EDDD47}"/>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675FF63D-BB90-9021-371E-5A4BD8C9B5E1}"/>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DC283ACA-C141-61BF-F975-52DF7A04421D}"/>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4578152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97991C3-8899-765F-DDFF-0FA04F606FB6}"/>
              </a:ext>
            </a:extLst>
          </p:cNvPr>
          <p:cNvSpPr>
            <a:spLocks noGrp="1"/>
          </p:cNvSpPr>
          <p:nvPr>
            <p:ph type="title"/>
          </p:nvPr>
        </p:nvSpPr>
        <p:spPr>
          <a:xfrm>
            <a:off x="629841" y="365126"/>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250EBC2B-38ED-FFD1-A0EC-0E9D74AB9E1F}"/>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6B245C44-AB9A-6C18-843A-7BAF85F69C21}"/>
              </a:ext>
            </a:extLst>
          </p:cNvPr>
          <p:cNvSpPr>
            <a:spLocks noGrp="1"/>
          </p:cNvSpPr>
          <p:nvPr>
            <p:ph sz="half" idx="2"/>
          </p:nvPr>
        </p:nvSpPr>
        <p:spPr>
          <a:xfrm>
            <a:off x="629842" y="2505075"/>
            <a:ext cx="386834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8DD8C0AE-D53D-64E0-F645-91B37E93721D}"/>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9FA45F1D-A4AB-3070-5AF6-49142FF76E7F}"/>
              </a:ext>
            </a:extLst>
          </p:cNvPr>
          <p:cNvSpPr>
            <a:spLocks noGrp="1"/>
          </p:cNvSpPr>
          <p:nvPr>
            <p:ph sz="quarter" idx="4"/>
          </p:nvPr>
        </p:nvSpPr>
        <p:spPr>
          <a:xfrm>
            <a:off x="4629150" y="2505075"/>
            <a:ext cx="3887391"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8D206612-9D34-C1C4-0BF1-9AE900577E20}"/>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8" name="フッター プレースホルダー 7">
            <a:extLst>
              <a:ext uri="{FF2B5EF4-FFF2-40B4-BE49-F238E27FC236}">
                <a16:creationId xmlns:a16="http://schemas.microsoft.com/office/drawing/2014/main" id="{EC661707-425E-8F2C-B259-86114E372F9E}"/>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C55D8448-370C-DBDF-FCAD-2BB628865687}"/>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24809554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03F1BB6-B61D-7483-7C04-41C0B0D83CB6}"/>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45CDB878-7659-5D25-71BC-D239151BA190}"/>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4" name="フッター プレースホルダー 3">
            <a:extLst>
              <a:ext uri="{FF2B5EF4-FFF2-40B4-BE49-F238E27FC236}">
                <a16:creationId xmlns:a16="http://schemas.microsoft.com/office/drawing/2014/main" id="{B3FC6FF0-D63E-EEE7-01FF-8A54BD466ABF}"/>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9EC4767A-9E8C-C28A-A4B8-047B5B68D1B8}"/>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2570054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3B983596-C31F-8327-EA74-0F03F0C5E97E}"/>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3" name="フッター プレースホルダー 2">
            <a:extLst>
              <a:ext uri="{FF2B5EF4-FFF2-40B4-BE49-F238E27FC236}">
                <a16:creationId xmlns:a16="http://schemas.microsoft.com/office/drawing/2014/main" id="{BB15A72D-806E-F137-3149-41908564B468}"/>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82EC92C-0A21-E37A-A593-E02E036E0A7D}"/>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27274553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F257CC0-48F6-A032-1143-8478EC399591}"/>
              </a:ext>
            </a:extLst>
          </p:cNvPr>
          <p:cNvSpPr>
            <a:spLocks noGrp="1"/>
          </p:cNvSpPr>
          <p:nvPr>
            <p:ph type="title"/>
          </p:nvPr>
        </p:nvSpPr>
        <p:spPr>
          <a:xfrm>
            <a:off x="629841" y="457200"/>
            <a:ext cx="2949178" cy="1600200"/>
          </a:xfrm>
        </p:spPr>
        <p:txBody>
          <a:bodyPr anchor="b"/>
          <a:lstStyle>
            <a:lvl1pPr>
              <a:defRPr sz="24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48F2733-78D3-72B7-0AE4-DA0E8FB7D238}"/>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C2F05A8B-636E-B991-2421-C993C8A7AAB5}"/>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B9C3B467-C2F3-8B2F-64CF-3723BF6C8F7C}"/>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A66B5C9B-BA2B-692B-103E-05B5D917DF16}"/>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DB9AF668-C68B-04DE-441F-BCE8E129CEB1}"/>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30567971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5382F4F-E2AB-8607-0DDD-2D35E23EA4B0}"/>
              </a:ext>
            </a:extLst>
          </p:cNvPr>
          <p:cNvSpPr>
            <a:spLocks noGrp="1"/>
          </p:cNvSpPr>
          <p:nvPr>
            <p:ph type="title"/>
          </p:nvPr>
        </p:nvSpPr>
        <p:spPr>
          <a:xfrm>
            <a:off x="629841" y="457200"/>
            <a:ext cx="2949178" cy="1600200"/>
          </a:xfrm>
        </p:spPr>
        <p:txBody>
          <a:bodyPr anchor="b"/>
          <a:lstStyle>
            <a:lvl1pPr>
              <a:defRPr sz="24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F48A6F56-2333-BDEA-CFAE-3DCCB5702851}"/>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kumimoji="1" lang="ja-JP" altLang="en-US"/>
          </a:p>
        </p:txBody>
      </p:sp>
      <p:sp>
        <p:nvSpPr>
          <p:cNvPr id="4" name="テキスト プレースホルダー 3">
            <a:extLst>
              <a:ext uri="{FF2B5EF4-FFF2-40B4-BE49-F238E27FC236}">
                <a16:creationId xmlns:a16="http://schemas.microsoft.com/office/drawing/2014/main" id="{87C47463-BD1F-07B3-B836-C8073A0CD7E4}"/>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706A4550-D4D7-B29D-187B-72128122DF97}"/>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B4699439-340C-41FD-EA2B-0BD1FD3784D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38B0F71F-CBC1-D39C-B52A-6949A2C2672F}"/>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42490917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782939B7-3B3C-494B-FC48-7607E0E1759D}"/>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68A9A5EE-1AB2-D08E-2E92-E5C2B8A096AD}"/>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3833223B-408A-230A-1599-E265A6B242FF}"/>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82000"/>
                  </a:schemeClr>
                </a:solidFill>
              </a:defRPr>
            </a:lvl1p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4197CE52-6405-9DC5-B992-22AE599A28D9}"/>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485B6938-73A1-AC69-2E02-6C130840696A}"/>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82000"/>
                  </a:schemeClr>
                </a:solidFill>
              </a:defRPr>
            </a:lvl1pPr>
          </a:lstStyle>
          <a:p>
            <a:fld id="{BD61DC6C-4581-DC44-8E22-5B060113FAEC}" type="slidenum">
              <a:rPr kumimoji="1" lang="ja-JP" altLang="en-US" smtClean="0"/>
              <a:t>‹#›</a:t>
            </a:fld>
            <a:endParaRPr kumimoji="1" lang="ja-JP" altLang="en-US"/>
          </a:p>
        </p:txBody>
      </p:sp>
      <p:graphicFrame>
        <p:nvGraphicFramePr>
          <p:cNvPr id="7" name="オブジェクト 6" hidden="1">
            <a:extLst>
              <a:ext uri="{FF2B5EF4-FFF2-40B4-BE49-F238E27FC236}">
                <a16:creationId xmlns:a16="http://schemas.microsoft.com/office/drawing/2014/main" id="{3CD401D1-2FE5-A2CA-5BFA-66430C16B7D3}"/>
              </a:ext>
            </a:extLst>
          </p:cNvPr>
          <p:cNvGraphicFramePr>
            <a:graphicFrameLocks noChangeAspect="1"/>
          </p:cNvGraphicFramePr>
          <p:nvPr userDrawn="1">
            <p:custDataLst>
              <p:tags r:id="rId15"/>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6" imgW="554" imgH="551" progId="TCLayout.ActiveDocument.1">
                  <p:embed/>
                </p:oleObj>
              </mc:Choice>
              <mc:Fallback>
                <p:oleObj name="think-cell スライド" r:id="rId16"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70007217"/>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64" r:id="rId13"/>
  </p:sldLayoutIdLst>
  <p:txStyles>
    <p:title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ja-JP"/>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37DE5753-8388-504C-0DCD-E594324F4908}"/>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図 14" descr="グラフィカル ユーザー インターフェイス, アプリケーション&#10;&#10;AI 生成コンテンツは誤りを含む可能性があります。">
            <a:extLst>
              <a:ext uri="{FF2B5EF4-FFF2-40B4-BE49-F238E27FC236}">
                <a16:creationId xmlns:a16="http://schemas.microsoft.com/office/drawing/2014/main" id="{0C0B6A81-2B71-47BD-CEE0-4D4D11FEF56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99988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216352-D59A-497A-4FC8-51C7906AEA3B}"/>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CDD00384-0CAF-529C-5E44-7E397C8F8F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図 14" descr="テキスト が含まれている画像&#10;&#10;AI 生成コンテンツは誤りを含む可能性があります。">
            <a:extLst>
              <a:ext uri="{FF2B5EF4-FFF2-40B4-BE49-F238E27FC236}">
                <a16:creationId xmlns:a16="http://schemas.microsoft.com/office/drawing/2014/main" id="{BD7C0E44-6422-F8C5-CC21-CE55DF8DAC2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95953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図 21"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4AAF8109-9EA0-8836-AFC7-FE8F71B46D0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578759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27688F0C-8E6E-9A6A-382F-0CC152352BD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450597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テーブル&#10;&#10;AI 生成コンテンツは誤りを含む可能性があります。">
            <a:extLst>
              <a:ext uri="{FF2B5EF4-FFF2-40B4-BE49-F238E27FC236}">
                <a16:creationId xmlns:a16="http://schemas.microsoft.com/office/drawing/2014/main" id="{9F02869B-6D2F-DE86-6880-77BF6A937162}"/>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タイムライン&#10;&#10;AI 生成コンテンツは誤りを含む可能性があります。">
            <a:extLst>
              <a:ext uri="{FF2B5EF4-FFF2-40B4-BE49-F238E27FC236}">
                <a16:creationId xmlns:a16="http://schemas.microsoft.com/office/drawing/2014/main" id="{C188E048-04B6-CC71-C0AA-328C1E177F06}"/>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71760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20BAC729-867C-8AB9-88D7-2C1171A546E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6897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10;&#10;AI 生成コンテンツは誤りを含む可能性があります。">
            <a:extLst>
              <a:ext uri="{FF2B5EF4-FFF2-40B4-BE49-F238E27FC236}">
                <a16:creationId xmlns:a16="http://schemas.microsoft.com/office/drawing/2014/main" id="{6EA08368-2228-4682-B781-1776C765498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7191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327C97D5-15AF-785D-B526-CD8BFEDEFB5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492446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10;&#10;AI 生成コンテンツは誤りを含む可能性があります。">
            <a:extLst>
              <a:ext uri="{FF2B5EF4-FFF2-40B4-BE49-F238E27FC236}">
                <a16:creationId xmlns:a16="http://schemas.microsoft.com/office/drawing/2014/main" id="{4CCC24E7-9EED-453C-24C8-81C7DC4E423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558925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図 18" descr="グラフィカル ユーザー インターフェイス&#10;&#10;AI 生成コンテンツは誤りを含む可能性があります。">
            <a:extLst>
              <a:ext uri="{FF2B5EF4-FFF2-40B4-BE49-F238E27FC236}">
                <a16:creationId xmlns:a16="http://schemas.microsoft.com/office/drawing/2014/main" id="{698E742B-BCF1-B807-4CB7-8D5F9B0808A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064250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C175AF-8206-857A-3E51-5C17E458B9FF}"/>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DBF1ED23-C6F7-F57B-2249-BC4DA3B825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図 13" descr="グラフィカル ユーザー インターフェイス, アプリケーション&#10;&#10;AI 生成コンテンツは誤りを含む可能性があります。">
            <a:extLst>
              <a:ext uri="{FF2B5EF4-FFF2-40B4-BE49-F238E27FC236}">
                <a16:creationId xmlns:a16="http://schemas.microsoft.com/office/drawing/2014/main" id="{2452D31B-4032-E700-7418-C26A16D590E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670821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715</Words>
  <Application>Microsoft Office PowerPoint</Application>
  <PresentationFormat>画面に合わせる (4:3)</PresentationFormat>
  <Paragraphs>162</Paragraphs>
  <Slides>13</Slides>
  <Notes>13</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3</vt:i4>
      </vt:variant>
    </vt:vector>
  </HeadingPairs>
  <TitlesOfParts>
    <vt:vector size="20" baseType="lpstr">
      <vt:lpstr>Meiryo UI</vt:lpstr>
      <vt:lpstr>游ゴシック</vt:lpstr>
      <vt:lpstr>游ゴシック</vt:lpstr>
      <vt:lpstr>游ゴシック Light</vt:lpstr>
      <vt:lpstr>Arial</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3-27T06:16:45Z</dcterms:created>
  <dcterms:modified xsi:type="dcterms:W3CDTF">2026-03-17T04:09:19Z</dcterms:modified>
</cp:coreProperties>
</file>